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57" r:id="rId3"/>
  </p:sldIdLst>
  <p:sldSz cx="12192000" cy="6858000"/>
  <p:notesSz cx="6858000" cy="9144000"/>
  <p:custDataLst>
    <p:tags r:id="rId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9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90" d="100"/>
          <a:sy n="90" d="100"/>
        </p:scale>
        <p:origin x="820" y="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tags" Target="tags/tag1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5B7D56-9A32-E316-2E2B-7F881200ABE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B9E38B7-E231-7C74-B7EE-B021B105064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8813CE-2E9B-5195-DD72-2EFE693264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723E45-8DF6-4DDF-9284-80562A0E6783}" type="datetimeFigureOut">
              <a:rPr lang="en-US" smtClean="0"/>
              <a:t>12/1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B118206-1868-BE03-E04F-C9CE845866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DAA6FA4-F344-FB08-76E2-90F97E0817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4D722-EC60-452E-AE78-237B09C4138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732558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ECF15D-4B4F-B676-D5F8-FC204C8E97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C46F327-C25C-6411-1D3C-568158C80FE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E8230AC-CDAB-9308-230A-C6BBE7CC6B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723E45-8DF6-4DDF-9284-80562A0E6783}" type="datetimeFigureOut">
              <a:rPr lang="en-US" smtClean="0"/>
              <a:t>12/1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710F00F-FF21-6650-BC62-0827C4808D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1923793-983B-FD3D-D1DE-BCDDD384BA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4D722-EC60-452E-AE78-237B09C4138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69521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D9EC1300-F0E4-FD27-8F08-13B57C9284B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F5598BF-62F4-7EDC-4284-933A0F1940F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44400F1-054C-1992-9A49-A251B42C0E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723E45-8DF6-4DDF-9284-80562A0E6783}" type="datetimeFigureOut">
              <a:rPr lang="en-US" smtClean="0"/>
              <a:t>12/1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0F05880-171E-1157-8195-1863E12383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FD428B-2EAA-5959-77CA-3B359C6ACC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4D722-EC60-452E-AE78-237B09C4138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521224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5D30E2-9905-1073-90FD-8BFA12DADC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121F5FD-5C97-4EE2-A223-31B9FB88D46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9247658-ED51-3C74-C9A4-670ADF7E9E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723E45-8DF6-4DDF-9284-80562A0E6783}" type="datetimeFigureOut">
              <a:rPr lang="en-US" smtClean="0"/>
              <a:t>12/1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916356B-A9FE-8EA4-5CD0-9155CEAC35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7FE37C8-35B9-9E8D-C786-DF68B5E76E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4D722-EC60-452E-AE78-237B09C4138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48929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AE8464-A0EA-C908-1386-B24D173FE8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CA94277-079F-9504-9FA8-C84EE9D4592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98F1F03-1B28-9010-4BFF-5881CDE441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723E45-8DF6-4DDF-9284-80562A0E6783}" type="datetimeFigureOut">
              <a:rPr lang="en-US" smtClean="0"/>
              <a:t>12/1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408A5D-7390-C082-1319-077C0FC106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A4E6F94-CF2B-698C-E966-57A9BB1658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4D722-EC60-452E-AE78-237B09C4138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64893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F5C6E4-3B26-7B22-4D9F-9888A9DFD1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C45F7B0-9948-29C6-9658-A38AF79FDAF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CA18A71-D909-8661-964C-3874D993607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084D96A-795E-3B41-C1F7-2A888F6100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723E45-8DF6-4DDF-9284-80562A0E6783}" type="datetimeFigureOut">
              <a:rPr lang="en-US" smtClean="0"/>
              <a:t>12/13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D023FE2-AE31-4133-464C-5B832BBA17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E6961A2-FF98-3103-B19D-7760F2EFC8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4D722-EC60-452E-AE78-237B09C4138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72483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F0C037-AE7D-3B6D-97DA-33D438DD6D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8562FB7-8EF5-B2F1-0D46-3A31A97C377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EEB8E6C-AACE-D8B2-6654-4CBD0D36CB2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ADDB336-F561-A1C2-28AF-D5D334B5C59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4355D3A-3FDD-4567-987D-85649C00F4C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5DDF982-93CF-D7C4-27C5-5353E7DEF1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723E45-8DF6-4DDF-9284-80562A0E6783}" type="datetimeFigureOut">
              <a:rPr lang="en-US" smtClean="0"/>
              <a:t>12/13/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861B6A3-7F41-703D-BD92-A288D995B5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22B7346-3DA2-64CC-CA44-3B53713ADE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4D722-EC60-452E-AE78-237B09C4138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354108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A2B0A2-AB77-46B6-BE0B-5133398C65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A35282C-1A63-BEEA-DC2F-0A0ED4E865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723E45-8DF6-4DDF-9284-80562A0E6783}" type="datetimeFigureOut">
              <a:rPr lang="en-US" smtClean="0"/>
              <a:t>12/13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E88242C-7F91-7F8D-D9D8-E45D99688D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B4129EB-39F6-7859-7A57-0B3CFAB986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4D722-EC60-452E-AE78-237B09C4138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207254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3071B55-81F1-7F7B-44A1-DD4D722F83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723E45-8DF6-4DDF-9284-80562A0E6783}" type="datetimeFigureOut">
              <a:rPr lang="en-US" smtClean="0"/>
              <a:t>12/13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FF47F4D-285D-9447-6D3D-1D670F4807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FE58699-0E03-26C5-38EE-68168C1B46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4D722-EC60-452E-AE78-237B09C4138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376163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AF792C-72F3-E611-8E38-5EC20EFCBD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7709975-BC44-A02D-15A3-0C66C0DA17A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74D0BB4-6652-E984-F68B-554C53426B4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AD60A79-3BC8-6C8E-7399-B0E081D39F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723E45-8DF6-4DDF-9284-80562A0E6783}" type="datetimeFigureOut">
              <a:rPr lang="en-US" smtClean="0"/>
              <a:t>12/13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06E76E6-2720-23F0-DD03-9025BA377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71EEC3D-78A0-3D8C-EEDE-0301E4A5BB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4D722-EC60-452E-AE78-237B09C4138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263407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F5BE72-4F6B-0EA4-5824-880986376D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0C7A6F9-41E3-C8F2-8ED0-8D4E0F4A9FF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18A9A7D-C88B-4FC5-E26A-9FB7456FD6A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2C0A12D-41F2-36E0-38DA-7E8311EC42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723E45-8DF6-4DDF-9284-80562A0E6783}" type="datetimeFigureOut">
              <a:rPr lang="en-US" smtClean="0"/>
              <a:t>12/13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00A4A61-981B-ABBD-8F6F-638D62919F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1AA4A66-1C97-54C3-3E5F-AA40E62A29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4D722-EC60-452E-AE78-237B09C4138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57210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77C15DC-E864-8F88-1754-18F7DE270E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6429319-8C17-30B2-50D0-5D775277C69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662A1C5-4B81-3039-9F51-ECEA2909834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0723E45-8DF6-4DDF-9284-80562A0E6783}" type="datetimeFigureOut">
              <a:rPr lang="en-US" smtClean="0"/>
              <a:t>12/1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C67728B-50FE-A676-D062-CE9BBE395DE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5593D4-34AB-B86C-8EEB-3A803A63B3E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734D722-EC60-452E-AE78-237B09C4138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8963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.v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14DF0DB1-AF36-E65B-7CF1-DFC7ED323980}"/>
              </a:ext>
            </a:extLst>
          </p:cNvPr>
          <p:cNvSpPr/>
          <p:nvPr/>
        </p:nvSpPr>
        <p:spPr>
          <a:xfrm>
            <a:off x="710961" y="879468"/>
            <a:ext cx="10631178" cy="575282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CB84BE47-3FDD-383C-4064-B4ECFA3E8C5A}"/>
              </a:ext>
            </a:extLst>
          </p:cNvPr>
          <p:cNvSpPr/>
          <p:nvPr/>
        </p:nvSpPr>
        <p:spPr>
          <a:xfrm>
            <a:off x="3090440" y="2799633"/>
            <a:ext cx="5984105" cy="2771397"/>
          </a:xfrm>
          <a:prstGeom prst="rect">
            <a:avLst/>
          </a:prstGeom>
          <a:solidFill>
            <a:srgbClr val="FFC000">
              <a:alpha val="32000"/>
            </a:srgbClr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A92C162E-5798-502C-A5D2-05D627A199E0}"/>
              </a:ext>
            </a:extLst>
          </p:cNvPr>
          <p:cNvGrpSpPr/>
          <p:nvPr/>
        </p:nvGrpSpPr>
        <p:grpSpPr>
          <a:xfrm>
            <a:off x="82658" y="124746"/>
            <a:ext cx="3510489" cy="723138"/>
            <a:chOff x="82658" y="124746"/>
            <a:chExt cx="3510489" cy="723138"/>
          </a:xfrm>
        </p:grpSpPr>
        <p:sp>
          <p:nvSpPr>
            <p:cNvPr id="5" name="Cube 4">
              <a:extLst>
                <a:ext uri="{FF2B5EF4-FFF2-40B4-BE49-F238E27FC236}">
                  <a16:creationId xmlns:a16="http://schemas.microsoft.com/office/drawing/2014/main" id="{0D0EF55B-34CF-9042-5AAD-859DDBD33478}"/>
                </a:ext>
              </a:extLst>
            </p:cNvPr>
            <p:cNvSpPr/>
            <p:nvPr/>
          </p:nvSpPr>
          <p:spPr>
            <a:xfrm>
              <a:off x="186290" y="408972"/>
              <a:ext cx="363474" cy="335280"/>
            </a:xfrm>
            <a:prstGeom prst="cube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Cube 5">
              <a:extLst>
                <a:ext uri="{FF2B5EF4-FFF2-40B4-BE49-F238E27FC236}">
                  <a16:creationId xmlns:a16="http://schemas.microsoft.com/office/drawing/2014/main" id="{79F9D790-A1FB-4017-AC81-3A41CC5165C5}"/>
                </a:ext>
              </a:extLst>
            </p:cNvPr>
            <p:cNvSpPr/>
            <p:nvPr/>
          </p:nvSpPr>
          <p:spPr>
            <a:xfrm>
              <a:off x="506330" y="408972"/>
              <a:ext cx="363474" cy="335280"/>
            </a:xfrm>
            <a:prstGeom prst="cube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Cube 6">
              <a:extLst>
                <a:ext uri="{FF2B5EF4-FFF2-40B4-BE49-F238E27FC236}">
                  <a16:creationId xmlns:a16="http://schemas.microsoft.com/office/drawing/2014/main" id="{9719F634-060E-399B-2D88-B6CFD1ADF0DF}"/>
                </a:ext>
              </a:extLst>
            </p:cNvPr>
            <p:cNvSpPr/>
            <p:nvPr/>
          </p:nvSpPr>
          <p:spPr>
            <a:xfrm>
              <a:off x="82658" y="512604"/>
              <a:ext cx="363474" cy="335280"/>
            </a:xfrm>
            <a:prstGeom prst="cube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Cube 7">
              <a:extLst>
                <a:ext uri="{FF2B5EF4-FFF2-40B4-BE49-F238E27FC236}">
                  <a16:creationId xmlns:a16="http://schemas.microsoft.com/office/drawing/2014/main" id="{97CE1B0B-73E4-15BE-75BA-F30DEFE73048}"/>
                </a:ext>
              </a:extLst>
            </p:cNvPr>
            <p:cNvSpPr/>
            <p:nvPr/>
          </p:nvSpPr>
          <p:spPr>
            <a:xfrm>
              <a:off x="399650" y="512604"/>
              <a:ext cx="363474" cy="335280"/>
            </a:xfrm>
            <a:prstGeom prst="cube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Cube 8">
              <a:extLst>
                <a:ext uri="{FF2B5EF4-FFF2-40B4-BE49-F238E27FC236}">
                  <a16:creationId xmlns:a16="http://schemas.microsoft.com/office/drawing/2014/main" id="{AE692A66-CCA1-11A8-C714-F07459970830}"/>
                </a:ext>
              </a:extLst>
            </p:cNvPr>
            <p:cNvSpPr/>
            <p:nvPr/>
          </p:nvSpPr>
          <p:spPr>
            <a:xfrm>
              <a:off x="186290" y="124746"/>
              <a:ext cx="363474" cy="335280"/>
            </a:xfrm>
            <a:prstGeom prst="cube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Cube 9">
              <a:extLst>
                <a:ext uri="{FF2B5EF4-FFF2-40B4-BE49-F238E27FC236}">
                  <a16:creationId xmlns:a16="http://schemas.microsoft.com/office/drawing/2014/main" id="{6B84ADAC-220F-A315-9FF7-756BBBC40644}"/>
                </a:ext>
              </a:extLst>
            </p:cNvPr>
            <p:cNvSpPr/>
            <p:nvPr/>
          </p:nvSpPr>
          <p:spPr>
            <a:xfrm>
              <a:off x="506330" y="124746"/>
              <a:ext cx="363474" cy="335280"/>
            </a:xfrm>
            <a:prstGeom prst="cube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Cube 10">
              <a:extLst>
                <a:ext uri="{FF2B5EF4-FFF2-40B4-BE49-F238E27FC236}">
                  <a16:creationId xmlns:a16="http://schemas.microsoft.com/office/drawing/2014/main" id="{8F4E5806-A391-A593-C76C-D51C846FE723}"/>
                </a:ext>
              </a:extLst>
            </p:cNvPr>
            <p:cNvSpPr/>
            <p:nvPr/>
          </p:nvSpPr>
          <p:spPr>
            <a:xfrm>
              <a:off x="82658" y="228378"/>
              <a:ext cx="363474" cy="335280"/>
            </a:xfrm>
            <a:prstGeom prst="cube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Cube 11">
              <a:extLst>
                <a:ext uri="{FF2B5EF4-FFF2-40B4-BE49-F238E27FC236}">
                  <a16:creationId xmlns:a16="http://schemas.microsoft.com/office/drawing/2014/main" id="{F3CD279D-85EE-A8D7-5F76-3F64141B4A9D}"/>
                </a:ext>
              </a:extLst>
            </p:cNvPr>
            <p:cNvSpPr/>
            <p:nvPr/>
          </p:nvSpPr>
          <p:spPr>
            <a:xfrm>
              <a:off x="399650" y="228378"/>
              <a:ext cx="363474" cy="335280"/>
            </a:xfrm>
            <a:prstGeom prst="cube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55E79785-A510-8637-30A3-2B55901E215C}"/>
                </a:ext>
              </a:extLst>
            </p:cNvPr>
            <p:cNvSpPr txBox="1"/>
            <p:nvPr/>
          </p:nvSpPr>
          <p:spPr>
            <a:xfrm>
              <a:off x="884961" y="124746"/>
              <a:ext cx="2708186" cy="4924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600" dirty="0">
                  <a:solidFill>
                    <a:schemeClr val="accent1">
                      <a:lumMod val="75000"/>
                    </a:schemeClr>
                  </a:solidFill>
                  <a:latin typeface="Cascadia Code" panose="020B0609020000020004" pitchFamily="49" charset="0"/>
                  <a:ea typeface="Kigelia Light" panose="020B0502040204020203" pitchFamily="34" charset="0"/>
                  <a:cs typeface="Cascadia Code" panose="020B0609020000020004" pitchFamily="49" charset="0"/>
                </a:rPr>
                <a:t>ReservoirFlow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2C493C6D-2195-937E-1226-28DB06663C5C}"/>
                </a:ext>
              </a:extLst>
            </p:cNvPr>
            <p:cNvSpPr/>
            <p:nvPr/>
          </p:nvSpPr>
          <p:spPr>
            <a:xfrm>
              <a:off x="869804" y="124747"/>
              <a:ext cx="2095500" cy="58587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B7F521AB-4FEE-5281-5BAE-46B98283E7B3}"/>
                </a:ext>
              </a:extLst>
            </p:cNvPr>
            <p:cNvSpPr/>
            <p:nvPr/>
          </p:nvSpPr>
          <p:spPr>
            <a:xfrm>
              <a:off x="930001" y="538580"/>
              <a:ext cx="2618107" cy="47938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7" name="Rectangle 16">
            <a:extLst>
              <a:ext uri="{FF2B5EF4-FFF2-40B4-BE49-F238E27FC236}">
                <a16:creationId xmlns:a16="http://schemas.microsoft.com/office/drawing/2014/main" id="{500EEA96-C30D-3AC5-A682-1BDDE171144F}"/>
              </a:ext>
            </a:extLst>
          </p:cNvPr>
          <p:cNvSpPr/>
          <p:nvPr/>
        </p:nvSpPr>
        <p:spPr>
          <a:xfrm>
            <a:off x="6334540" y="1186789"/>
            <a:ext cx="1616765" cy="622852"/>
          </a:xfrm>
          <a:prstGeom prst="rect">
            <a:avLst/>
          </a:prstGeom>
          <a:solidFill>
            <a:srgbClr val="009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Grid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7A181E93-376C-AC9E-C158-9D49F2507470}"/>
              </a:ext>
            </a:extLst>
          </p:cNvPr>
          <p:cNvSpPr/>
          <p:nvPr/>
        </p:nvSpPr>
        <p:spPr>
          <a:xfrm>
            <a:off x="4240697" y="1186789"/>
            <a:ext cx="1616765" cy="622852"/>
          </a:xfrm>
          <a:prstGeom prst="rect">
            <a:avLst/>
          </a:prstGeom>
          <a:solidFill>
            <a:srgbClr val="009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Fluid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AB6027F-1C92-D89F-FEC3-FCE92A83DC36}"/>
              </a:ext>
            </a:extLst>
          </p:cNvPr>
          <p:cNvSpPr/>
          <p:nvPr/>
        </p:nvSpPr>
        <p:spPr>
          <a:xfrm>
            <a:off x="5287617" y="2099272"/>
            <a:ext cx="1616765" cy="622852"/>
          </a:xfrm>
          <a:prstGeom prst="rect">
            <a:avLst/>
          </a:prstGeom>
          <a:solidFill>
            <a:srgbClr val="009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del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420FE03-C163-D8F0-032A-CD8FA75F427E}"/>
              </a:ext>
            </a:extLst>
          </p:cNvPr>
          <p:cNvSpPr/>
          <p:nvPr/>
        </p:nvSpPr>
        <p:spPr>
          <a:xfrm>
            <a:off x="5274109" y="5787559"/>
            <a:ext cx="1616765" cy="622852"/>
          </a:xfrm>
          <a:prstGeom prst="rect">
            <a:avLst/>
          </a:prstGeom>
          <a:solidFill>
            <a:srgbClr val="009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olution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BB3A7208-9829-9172-E7A3-10F03F53A3A8}"/>
              </a:ext>
            </a:extLst>
          </p:cNvPr>
          <p:cNvSpPr/>
          <p:nvPr/>
        </p:nvSpPr>
        <p:spPr>
          <a:xfrm>
            <a:off x="3250840" y="3142755"/>
            <a:ext cx="1616765" cy="622852"/>
          </a:xfrm>
          <a:prstGeom prst="rect">
            <a:avLst/>
          </a:prstGeom>
          <a:solidFill>
            <a:srgbClr val="009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nalytical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82185DB-5C22-71D3-BC6A-0FCA301245D3}"/>
              </a:ext>
            </a:extLst>
          </p:cNvPr>
          <p:cNvSpPr/>
          <p:nvPr/>
        </p:nvSpPr>
        <p:spPr>
          <a:xfrm>
            <a:off x="5287617" y="3142755"/>
            <a:ext cx="1616765" cy="622852"/>
          </a:xfrm>
          <a:prstGeom prst="rect">
            <a:avLst/>
          </a:prstGeom>
          <a:solidFill>
            <a:srgbClr val="009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umerical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C23438AE-E2DF-16DB-5474-6078B8FE8FA6}"/>
              </a:ext>
            </a:extLst>
          </p:cNvPr>
          <p:cNvSpPr/>
          <p:nvPr/>
        </p:nvSpPr>
        <p:spPr>
          <a:xfrm>
            <a:off x="7324394" y="3142755"/>
            <a:ext cx="1616765" cy="622852"/>
          </a:xfrm>
          <a:prstGeom prst="rect">
            <a:avLst/>
          </a:prstGeom>
          <a:solidFill>
            <a:srgbClr val="009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uerical</a:t>
            </a:r>
          </a:p>
        </p:txBody>
      </p: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74A238B1-B0C0-8F63-F2EA-50777AA9BEF3}"/>
              </a:ext>
            </a:extLst>
          </p:cNvPr>
          <p:cNvCxnSpPr>
            <a:cxnSpLocks/>
          </p:cNvCxnSpPr>
          <p:nvPr/>
        </p:nvCxnSpPr>
        <p:spPr>
          <a:xfrm>
            <a:off x="4059222" y="2924866"/>
            <a:ext cx="407355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8362C84F-9F57-93BD-25FF-8C8023378698}"/>
              </a:ext>
            </a:extLst>
          </p:cNvPr>
          <p:cNvCxnSpPr>
            <a:cxnSpLocks/>
            <a:endCxn id="32" idx="0"/>
          </p:cNvCxnSpPr>
          <p:nvPr/>
        </p:nvCxnSpPr>
        <p:spPr>
          <a:xfrm>
            <a:off x="4059223" y="2924866"/>
            <a:ext cx="0" cy="21788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096E2B39-34F9-1B25-48A3-B26666A6A225}"/>
              </a:ext>
            </a:extLst>
          </p:cNvPr>
          <p:cNvCxnSpPr>
            <a:cxnSpLocks/>
            <a:endCxn id="33" idx="0"/>
          </p:cNvCxnSpPr>
          <p:nvPr/>
        </p:nvCxnSpPr>
        <p:spPr>
          <a:xfrm>
            <a:off x="6096000" y="2722124"/>
            <a:ext cx="0" cy="42063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E0C2DCB0-67B6-CCB1-241A-DC1A9FC871F9}"/>
              </a:ext>
            </a:extLst>
          </p:cNvPr>
          <p:cNvCxnSpPr>
            <a:cxnSpLocks/>
            <a:endCxn id="34" idx="0"/>
          </p:cNvCxnSpPr>
          <p:nvPr/>
        </p:nvCxnSpPr>
        <p:spPr>
          <a:xfrm>
            <a:off x="8132777" y="2924866"/>
            <a:ext cx="0" cy="21788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FB3CC8D8-7A6F-01B6-5EF8-675E1FD2B8D5}"/>
              </a:ext>
            </a:extLst>
          </p:cNvPr>
          <p:cNvCxnSpPr>
            <a:cxnSpLocks/>
          </p:cNvCxnSpPr>
          <p:nvPr/>
        </p:nvCxnSpPr>
        <p:spPr>
          <a:xfrm>
            <a:off x="5049080" y="1949506"/>
            <a:ext cx="210152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A8833512-0455-17F4-E114-49E58BFAC500}"/>
              </a:ext>
            </a:extLst>
          </p:cNvPr>
          <p:cNvCxnSpPr>
            <a:cxnSpLocks/>
            <a:endCxn id="19" idx="0"/>
          </p:cNvCxnSpPr>
          <p:nvPr/>
        </p:nvCxnSpPr>
        <p:spPr>
          <a:xfrm>
            <a:off x="6096000" y="1949506"/>
            <a:ext cx="0" cy="14976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E646C98A-ACE8-2F7C-F0C8-CA8E9ECFB23F}"/>
              </a:ext>
            </a:extLst>
          </p:cNvPr>
          <p:cNvCxnSpPr>
            <a:cxnSpLocks/>
          </p:cNvCxnSpPr>
          <p:nvPr/>
        </p:nvCxnSpPr>
        <p:spPr>
          <a:xfrm>
            <a:off x="7150608" y="1809641"/>
            <a:ext cx="0" cy="13986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8E53F3BC-B8D5-E2E9-227D-C56E4E604F55}"/>
              </a:ext>
            </a:extLst>
          </p:cNvPr>
          <p:cNvCxnSpPr>
            <a:cxnSpLocks/>
            <a:stCxn id="18" idx="2"/>
          </p:cNvCxnSpPr>
          <p:nvPr/>
        </p:nvCxnSpPr>
        <p:spPr>
          <a:xfrm>
            <a:off x="5049080" y="1809641"/>
            <a:ext cx="0" cy="13986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80CE59C9-A3DA-ACED-F1BF-9D6F04DD103F}"/>
              </a:ext>
            </a:extLst>
          </p:cNvPr>
          <p:cNvCxnSpPr>
            <a:cxnSpLocks/>
          </p:cNvCxnSpPr>
          <p:nvPr/>
        </p:nvCxnSpPr>
        <p:spPr>
          <a:xfrm>
            <a:off x="5752617" y="3765607"/>
            <a:ext cx="0" cy="180542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TextBox 81">
            <a:extLst>
              <a:ext uri="{FF2B5EF4-FFF2-40B4-BE49-F238E27FC236}">
                <a16:creationId xmlns:a16="http://schemas.microsoft.com/office/drawing/2014/main" id="{8BC8D020-D945-2F15-0741-6D60D54FC081}"/>
              </a:ext>
            </a:extLst>
          </p:cNvPr>
          <p:cNvSpPr txBox="1"/>
          <p:nvPr/>
        </p:nvSpPr>
        <p:spPr>
          <a:xfrm>
            <a:off x="3005849" y="2475101"/>
            <a:ext cx="15092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stype: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CEDBF489-48AF-F5B5-BEAC-25F056A5D975}"/>
              </a:ext>
            </a:extLst>
          </p:cNvPr>
          <p:cNvSpPr txBox="1"/>
          <p:nvPr/>
        </p:nvSpPr>
        <p:spPr>
          <a:xfrm>
            <a:off x="5697932" y="3952810"/>
            <a:ext cx="78707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u="sng" dirty="0"/>
              <a:t>FDM</a:t>
            </a:r>
          </a:p>
          <a:p>
            <a:r>
              <a:rPr lang="en-US" u="sng" dirty="0"/>
              <a:t>FVM</a:t>
            </a:r>
          </a:p>
          <a:p>
            <a:r>
              <a:rPr lang="en-US" u="sng" dirty="0"/>
              <a:t>FEM</a:t>
            </a:r>
          </a:p>
          <a:p>
            <a:r>
              <a:rPr lang="en-US" u="sng" dirty="0"/>
              <a:t>…</a:t>
            </a:r>
          </a:p>
        </p:txBody>
      </p: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DE52180D-8AA1-4024-B6CB-FA7BC3202C99}"/>
              </a:ext>
            </a:extLst>
          </p:cNvPr>
          <p:cNvCxnSpPr>
            <a:cxnSpLocks/>
          </p:cNvCxnSpPr>
          <p:nvPr/>
        </p:nvCxnSpPr>
        <p:spPr>
          <a:xfrm>
            <a:off x="3728977" y="3755960"/>
            <a:ext cx="0" cy="181507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TextBox 86">
            <a:extLst>
              <a:ext uri="{FF2B5EF4-FFF2-40B4-BE49-F238E27FC236}">
                <a16:creationId xmlns:a16="http://schemas.microsoft.com/office/drawing/2014/main" id="{311047DA-D0D7-58BC-869E-D7630DE4851B}"/>
              </a:ext>
            </a:extLst>
          </p:cNvPr>
          <p:cNvSpPr txBox="1"/>
          <p:nvPr/>
        </p:nvSpPr>
        <p:spPr>
          <a:xfrm>
            <a:off x="3674291" y="3943163"/>
            <a:ext cx="178895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u="sng" dirty="0"/>
              <a:t>Single Phase 1D</a:t>
            </a:r>
          </a:p>
          <a:p>
            <a:r>
              <a:rPr lang="en-US" u="sng" dirty="0"/>
              <a:t>Multi Phase 1D</a:t>
            </a:r>
          </a:p>
          <a:p>
            <a:r>
              <a:rPr lang="en-US" u="sng" dirty="0"/>
              <a:t>2D</a:t>
            </a:r>
          </a:p>
          <a:p>
            <a:r>
              <a:rPr lang="en-US" u="sng" dirty="0"/>
              <a:t>3D</a:t>
            </a:r>
          </a:p>
          <a:p>
            <a:r>
              <a:rPr lang="en-US" u="sng" dirty="0"/>
              <a:t>…</a:t>
            </a:r>
          </a:p>
        </p:txBody>
      </p: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id="{821471AB-C92E-4918-2D1E-EC81B7C3D3C2}"/>
              </a:ext>
            </a:extLst>
          </p:cNvPr>
          <p:cNvCxnSpPr>
            <a:cxnSpLocks/>
          </p:cNvCxnSpPr>
          <p:nvPr/>
        </p:nvCxnSpPr>
        <p:spPr>
          <a:xfrm>
            <a:off x="7812408" y="3765607"/>
            <a:ext cx="0" cy="180542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TextBox 91">
            <a:extLst>
              <a:ext uri="{FF2B5EF4-FFF2-40B4-BE49-F238E27FC236}">
                <a16:creationId xmlns:a16="http://schemas.microsoft.com/office/drawing/2014/main" id="{6F220E04-7B5D-1A97-0376-12122CD5A5A4}"/>
              </a:ext>
            </a:extLst>
          </p:cNvPr>
          <p:cNvSpPr txBox="1"/>
          <p:nvPr/>
        </p:nvSpPr>
        <p:spPr>
          <a:xfrm>
            <a:off x="7757723" y="3952810"/>
            <a:ext cx="118343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u="sng" dirty="0"/>
              <a:t>PINN</a:t>
            </a:r>
          </a:p>
          <a:p>
            <a:r>
              <a:rPr lang="en-US" u="sng" dirty="0"/>
              <a:t>DeepONet</a:t>
            </a:r>
          </a:p>
          <a:p>
            <a:r>
              <a:rPr lang="en-US" u="sng" dirty="0"/>
              <a:t>…</a:t>
            </a:r>
          </a:p>
        </p:txBody>
      </p:sp>
      <p:cxnSp>
        <p:nvCxnSpPr>
          <p:cNvPr id="97" name="Straight Connector 96">
            <a:extLst>
              <a:ext uri="{FF2B5EF4-FFF2-40B4-BE49-F238E27FC236}">
                <a16:creationId xmlns:a16="http://schemas.microsoft.com/office/drawing/2014/main" id="{1592916C-C0F1-1709-68A2-278D0D810D2D}"/>
              </a:ext>
            </a:extLst>
          </p:cNvPr>
          <p:cNvCxnSpPr>
            <a:cxnSpLocks/>
          </p:cNvCxnSpPr>
          <p:nvPr/>
        </p:nvCxnSpPr>
        <p:spPr>
          <a:xfrm>
            <a:off x="6584738" y="3765607"/>
            <a:ext cx="0" cy="180542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TextBox 97">
            <a:extLst>
              <a:ext uri="{FF2B5EF4-FFF2-40B4-BE49-F238E27FC236}">
                <a16:creationId xmlns:a16="http://schemas.microsoft.com/office/drawing/2014/main" id="{BEEFD656-4315-5E27-AD40-12AD4B950EE9}"/>
              </a:ext>
            </a:extLst>
          </p:cNvPr>
          <p:cNvSpPr txBox="1"/>
          <p:nvPr/>
        </p:nvSpPr>
        <p:spPr>
          <a:xfrm>
            <a:off x="6584215" y="4400027"/>
            <a:ext cx="111961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u="sng" dirty="0"/>
              <a:t>Direct</a:t>
            </a:r>
          </a:p>
          <a:p>
            <a:r>
              <a:rPr lang="en-US" u="sng" dirty="0"/>
              <a:t>Iterative</a:t>
            </a:r>
          </a:p>
          <a:p>
            <a:r>
              <a:rPr lang="en-US" u="sng" dirty="0"/>
              <a:t>Nuerical</a:t>
            </a:r>
          </a:p>
          <a:p>
            <a:r>
              <a:rPr lang="en-US" u="sng" dirty="0"/>
              <a:t>…</a:t>
            </a: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BD787979-A271-24EE-4AA5-A989054D7D35}"/>
              </a:ext>
            </a:extLst>
          </p:cNvPr>
          <p:cNvSpPr/>
          <p:nvPr/>
        </p:nvSpPr>
        <p:spPr>
          <a:xfrm>
            <a:off x="6438575" y="3962777"/>
            <a:ext cx="1015011" cy="420109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olvers</a:t>
            </a:r>
          </a:p>
        </p:txBody>
      </p:sp>
      <p:cxnSp>
        <p:nvCxnSpPr>
          <p:cNvPr id="106" name="Straight Connector 105">
            <a:extLst>
              <a:ext uri="{FF2B5EF4-FFF2-40B4-BE49-F238E27FC236}">
                <a16:creationId xmlns:a16="http://schemas.microsoft.com/office/drawing/2014/main" id="{91649ED8-C920-D481-B141-B6345120284C}"/>
              </a:ext>
            </a:extLst>
          </p:cNvPr>
          <p:cNvCxnSpPr>
            <a:cxnSpLocks/>
            <a:stCxn id="81" idx="2"/>
            <a:endCxn id="20" idx="0"/>
          </p:cNvCxnSpPr>
          <p:nvPr/>
        </p:nvCxnSpPr>
        <p:spPr>
          <a:xfrm flipH="1">
            <a:off x="6082492" y="5571030"/>
            <a:ext cx="1" cy="21652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993780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8CA794-1F3D-E445-C6FF-2E856238DE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sk chat </a:t>
            </a:r>
            <a:r>
              <a:rPr lang="en-US" dirty="0" err="1"/>
              <a:t>gpt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D14D021-C965-743E-67C8-F0336A65040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US" dirty="0"/>
              <a:t>User</a:t>
            </a:r>
          </a:p>
          <a:p>
            <a:r>
              <a:rPr lang="en-US" dirty="0"/>
              <a:t>In python, I want to build a module which have submodules called grids, fluids, models each contain a class called </a:t>
            </a:r>
            <a:r>
              <a:rPr lang="en-US" dirty="0" err="1"/>
              <a:t>RegularCartesian</a:t>
            </a:r>
            <a:r>
              <a:rPr lang="en-US" dirty="0"/>
              <a:t>, </a:t>
            </a:r>
            <a:r>
              <a:rPr lang="en-US" dirty="0" err="1"/>
              <a:t>SinglePhase</a:t>
            </a:r>
            <a:r>
              <a:rPr lang="en-US" dirty="0"/>
              <a:t>, </a:t>
            </a:r>
            <a:r>
              <a:rPr lang="en-US" dirty="0" err="1"/>
              <a:t>BlackOil</a:t>
            </a:r>
            <a:r>
              <a:rPr lang="en-US" dirty="0"/>
              <a:t> respectively. now I want to have additionally a module called backends where I can simply change the backend to perform the same calculations using different options such as </a:t>
            </a:r>
            <a:r>
              <a:rPr lang="en-US" dirty="0" err="1"/>
              <a:t>numpy</a:t>
            </a:r>
            <a:r>
              <a:rPr lang="en-US" dirty="0"/>
              <a:t>, </a:t>
            </a:r>
            <a:r>
              <a:rPr lang="en-US" dirty="0" err="1"/>
              <a:t>pytorch</a:t>
            </a:r>
            <a:r>
              <a:rPr lang="en-US" dirty="0"/>
              <a:t>, </a:t>
            </a:r>
            <a:r>
              <a:rPr lang="en-US" dirty="0" err="1"/>
              <a:t>jax</a:t>
            </a:r>
            <a:r>
              <a:rPr lang="en-US" dirty="0"/>
              <a:t>, or </a:t>
            </a:r>
            <a:r>
              <a:rPr lang="en-US" dirty="0" err="1"/>
              <a:t>tensorflow</a:t>
            </a:r>
            <a:r>
              <a:rPr lang="en-US" dirty="0"/>
              <a:t>. I want a feature where I can compile my classes in models module so I can decide the solution type (stype) and the method used and optionally to set the backend option. </a:t>
            </a:r>
            <a:r>
              <a:rPr lang="en-US"/>
              <a:t>I also want to have the opportunity to change the backend option for all modules at once.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104569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IAAAAAAAAAAwAAAAMAAAAA/////wQAMwwAAAAAAAAAAAAAIAD///////////////8AAAD///////////////8DAAAAAwD///////8DAAAAAw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0KQBKe8L/ZMnoEjTS6h8jcFAAAAAAADAAAAAwADAAAAAQADAAMA////////BAAAAAMAEAALkPbQZabBSkCVisGsXk+RTgUAAAABAAMAAAAAAAMAAAACAAMAAAAAAP///////wMAAAAAAP///////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CAMAAAAAAAAAAAAACAB////////////////AAAA////////////////BAAAAAM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aAAZMaW5rZWRTaGFwZXNEYXRhUHJvcGVydHlfMAUAAAAAAAQAAAADAAQAAAABAAQAAAAAAP///////wMAAQEDAAAAAwD///////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EKQBKe8L/ZMnoEjTS6h8jcDRGF0YQAbAAAABExpbmtlZFNoYXBlRGF0YQAFAAAAAAACTmFtZQAZAAAATGlua2VkU2hhcGVzRGF0YVByb3BlcnR5ABBWZXJzaW9uAAAAAAAJTGFzdFdyaXRlAOLxNeeKAQAAAAEA/////8YAxgAAAAVfaWQAEAAAAASQ9tBlpsFKQJWKwaxeT5FOA0RhdGEAUwAAAAhQcmVzZW50YXRpb25TY2FubmVkRm9yTGlua2VkU2hhcGVzAAECTnVtYmVyRm9ybWF0U2VwYXJhdG9yTW9kZQAKAAAAQXV0b21hdGljAAACTmFtZQAkAAAATGlua2VkU2hhcGVQcmVzZW50YXRpb25TZXR0aW5nc0RhdGEAEFZlcnNpb24AAAAAAAlMYXN0V3JpdGUAKvI154o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54</Words>
  <Application>Microsoft Office PowerPoint</Application>
  <PresentationFormat>Widescreen</PresentationFormat>
  <Paragraphs>29</Paragraphs>
  <Slides>2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7" baseType="lpstr">
      <vt:lpstr>Arial</vt:lpstr>
      <vt:lpstr>Calibri</vt:lpstr>
      <vt:lpstr>Calibri Light</vt:lpstr>
      <vt:lpstr>Cascadia Code</vt:lpstr>
      <vt:lpstr>Office Theme</vt:lpstr>
      <vt:lpstr>PowerPoint Presentation</vt:lpstr>
      <vt:lpstr>ask chat gp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bugrin, Zakariya  SF/HZA-ZC3A</dc:creator>
  <cp:lastModifiedBy>Abugrin, Zakariya  SF/HZA-ZC3A</cp:lastModifiedBy>
  <cp:revision>3</cp:revision>
  <dcterms:created xsi:type="dcterms:W3CDTF">2023-09-30T17:49:38Z</dcterms:created>
  <dcterms:modified xsi:type="dcterms:W3CDTF">2023-12-14T11:41:43Z</dcterms:modified>
</cp:coreProperties>
</file>